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9" d="100"/>
          <a:sy n="79" d="100"/>
        </p:scale>
        <p:origin x="802" y="7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Ryann105/RailwayReservationSystem.git" TargetMode="External"/><Relationship Id="rId7" Type="http://schemas.openxmlformats.org/officeDocument/2006/relationships/hyperlink" Target="http://www.linkedin.com/in/alish-an"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nCTlajL21umGRADr_TKKzi3ybkSDj2EH/view?usp=sharing"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764154579"/>
              </p:ext>
            </p:extLst>
          </p:nvPr>
        </p:nvGraphicFramePr>
        <p:xfrm>
          <a:off x="9234253" y="1340382"/>
          <a:ext cx="2805347" cy="4685347"/>
        </p:xfrm>
        <a:graphic>
          <a:graphicData uri="http://schemas.openxmlformats.org/drawingml/2006/table">
            <a:tbl>
              <a:tblPr firstRow="1" bandRow="1">
                <a:tableStyleId>{0E3FDE45-AF77-4B5C-9715-49D594BDF05E}</a:tableStyleId>
              </a:tblPr>
              <a:tblGrid>
                <a:gridCol w="694888">
                  <a:extLst>
                    <a:ext uri="{9D8B030D-6E8A-4147-A177-3AD203B41FA5}">
                      <a16:colId xmlns:a16="http://schemas.microsoft.com/office/drawing/2014/main" val="3331298770"/>
                    </a:ext>
                  </a:extLst>
                </a:gridCol>
                <a:gridCol w="2110459">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pPr algn="just"/>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algn="just"/>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pPr algn="just"/>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My SQL RDS Basics, </a:t>
                      </a:r>
                      <a:r>
                        <a:rPr lang="en-US" sz="700" b="0" i="0" u="none" strike="noStrike" dirty="0" err="1">
                          <a:solidFill>
                            <a:srgbClr val="000000"/>
                          </a:solidFill>
                          <a:effectLst/>
                          <a:latin typeface="Verdana" panose="020B0604030504040204" pitchFamily="34" charset="0"/>
                        </a:rPr>
                        <a:t>PostgreSql</a:t>
                      </a:r>
                      <a:r>
                        <a:rPr lang="en-US" sz="700" b="0" i="0" u="none" strike="noStrike" dirty="0">
                          <a:solidFill>
                            <a:srgbClr val="000000"/>
                          </a:solidFill>
                          <a:effectLst/>
                          <a:latin typeface="Verdana" panose="020B0604030504040204" pitchFamily="34" charset="0"/>
                        </a:rPr>
                        <a:t> using </a:t>
                      </a:r>
                      <a:r>
                        <a:rPr lang="en-US" sz="700" b="0" i="0" u="none" strike="noStrike" dirty="0" err="1">
                          <a:solidFill>
                            <a:srgbClr val="000000"/>
                          </a:solidFill>
                          <a:effectLst/>
                          <a:latin typeface="Verdana" panose="020B0604030504040204" pitchFamily="34" charset="0"/>
                        </a:rPr>
                        <a:t>Pg</a:t>
                      </a:r>
                      <a:r>
                        <a:rPr lang="en-US" sz="700" b="0" i="0" u="none" strike="noStrike" dirty="0">
                          <a:solidFill>
                            <a:srgbClr val="000000"/>
                          </a:solidFill>
                          <a:effectLst/>
                          <a:latin typeface="Verdana" panose="020B0604030504040204" pitchFamily="34" charset="0"/>
                        </a:rPr>
                        <a:t> Admin</a:t>
                      </a:r>
                      <a:endParaRPr lang="en-US" sz="700" b="0" dirty="0">
                        <a:effectLst/>
                      </a:endParaRP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just"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algn="just"/>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55309" y="3120631"/>
            <a:ext cx="3654425" cy="2924175"/>
          </a:xfrm>
        </p:spPr>
        <p:txBody>
          <a:bodyPr/>
          <a:lstStyle/>
          <a:p>
            <a:pPr eaLnBrk="1" hangingPunct="1">
              <a:lnSpc>
                <a:spcPct val="114000"/>
              </a:lnSpc>
            </a:pPr>
            <a:r>
              <a:rPr lang="en-US" altLang="en-US" b="1" dirty="0"/>
              <a:t>Online Railway Reservation System Application</a:t>
            </a:r>
          </a:p>
          <a:p>
            <a:pPr algn="just"/>
            <a:r>
              <a:rPr lang="en-IN" altLang="en-US" dirty="0"/>
              <a:t>Completed end to end case study of Online Railway Reservation System Application along with JWT authentication,</a:t>
            </a:r>
            <a:r>
              <a:rPr lang="en-US" dirty="0"/>
              <a:t>Swagger documentation and payment integration with testing using Junit and mockito, responsive UI with Material UI and ReactJS used for user interface</a:t>
            </a:r>
            <a:r>
              <a:rPr lang="en-US" altLang="en-US" dirty="0"/>
              <a:t>, MongoDB Atlas as Database</a:t>
            </a:r>
            <a:endParaRPr lang="en-US" altLang="nl-NL" b="1" dirty="0"/>
          </a:p>
          <a:p>
            <a:pPr fontAlgn="base"/>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Navi Mumbai</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728" y="1829724"/>
            <a:ext cx="2382837" cy="330200"/>
          </a:xfrm>
        </p:spPr>
        <p:txBody>
          <a:bodyPr/>
          <a:lstStyle/>
          <a:p>
            <a:pPr eaLnBrk="1" hangingPunct="1"/>
            <a:r>
              <a:rPr lang="nl-NL" altLang="nl-NL" dirty="0"/>
              <a:t>+91703654460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03296" y="3120631"/>
            <a:ext cx="4057650" cy="3356346"/>
          </a:xfrm>
        </p:spPr>
        <p:txBody>
          <a:bodyPr/>
          <a:lstStyle/>
          <a:p>
            <a:r>
              <a:rPr lang="en-US" altLang="en-US" sz="1100" b="1" dirty="0"/>
              <a:t>Full Stack Developer</a:t>
            </a:r>
          </a:p>
          <a:p>
            <a:pPr marL="171450" indent="-171450" algn="just">
              <a:buFont typeface="Arial" panose="020B0604020202020204" pitchFamily="34" charset="0"/>
              <a:buChar char="•"/>
            </a:pPr>
            <a:r>
              <a:rPr lang="en-US" dirty="0"/>
              <a:t>Hands on experience in creating </a:t>
            </a:r>
            <a:r>
              <a:rPr lang="en-US" b="1" dirty="0"/>
              <a:t>microservices</a:t>
            </a:r>
            <a:r>
              <a:rPr lang="en-US" dirty="0"/>
              <a:t> with </a:t>
            </a:r>
            <a:r>
              <a:rPr lang="en-US" b="1" dirty="0"/>
              <a:t>Springboot, Spring Security, Spring Cloud API Gateway,</a:t>
            </a:r>
            <a:r>
              <a:rPr lang="en-US" dirty="0"/>
              <a:t> Eureka server,load balancing.</a:t>
            </a:r>
          </a:p>
          <a:p>
            <a:pPr marL="171450" indent="-171450" algn="just">
              <a:buFont typeface="Arial" panose="020B0604020202020204" pitchFamily="34" charset="0"/>
              <a:buChar char="•"/>
            </a:pPr>
            <a:r>
              <a:rPr lang="en-US" dirty="0"/>
              <a:t>Hands on experience in building web pages using Html, CSS, Bootstrap and working knowledge on ReactJS with react hooks,reactive forms,routing and Material UI</a:t>
            </a:r>
          </a:p>
          <a:p>
            <a:pPr marL="171450" indent="-171450" algn="just">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altLang="en-US" dirty="0"/>
          </a:p>
          <a:p>
            <a:pPr marL="171450" indent="-171450" algn="just">
              <a:buFont typeface="Arial" panose="020B0604020202020204" pitchFamily="34" charset="0"/>
              <a:buChar char="•"/>
            </a:pPr>
            <a:r>
              <a:rPr lang="en-US" dirty="0"/>
              <a:t>Development experience using Eclipse, intellij, VS Code, pgAdmin for postgress, postman API connection and MongoDB by Atlas</a:t>
            </a:r>
          </a:p>
          <a:p>
            <a:pPr marL="171450" indent="-171450">
              <a:buFont typeface="Arial" panose="020B0604020202020204" pitchFamily="34" charset="0"/>
              <a:buChar char="•"/>
            </a:pP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Mohammed Rayyan</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568031" y="624123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305800" y="6234112"/>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Engineering: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34253" y="1032195"/>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erson with a beard&#10;&#10;Description automatically generated with low confidence">
            <a:extLst>
              <a:ext uri="{FF2B5EF4-FFF2-40B4-BE49-F238E27FC236}">
                <a16:creationId xmlns:a16="http://schemas.microsoft.com/office/drawing/2014/main" id="{FF32A3C1-C369-440B-ABA6-350629B758D5}"/>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10484" b="10484"/>
          <a:stretch>
            <a:fillRect/>
          </a:stretch>
        </p:blipFill>
        <p:spPr>
          <a:xfrm>
            <a:off x="310610" y="119611"/>
            <a:ext cx="1734208" cy="1735628"/>
          </a:xfrm>
        </p:spPr>
      </p:pic>
      <p:sp>
        <p:nvSpPr>
          <p:cNvPr id="4" name="Text Placeholder 3">
            <a:extLst>
              <a:ext uri="{FF2B5EF4-FFF2-40B4-BE49-F238E27FC236}">
                <a16:creationId xmlns:a16="http://schemas.microsoft.com/office/drawing/2014/main" id="{3B024DA3-FDAB-4575-AA82-366ED76D7CDB}"/>
              </a:ext>
            </a:extLst>
          </p:cNvPr>
          <p:cNvSpPr>
            <a:spLocks noGrp="1"/>
          </p:cNvSpPr>
          <p:nvPr>
            <p:ph type="body" sz="quarter" idx="47"/>
          </p:nvPr>
        </p:nvSpPr>
        <p:spPr>
          <a:xfrm>
            <a:off x="3219216" y="1593882"/>
            <a:ext cx="2805347" cy="325397"/>
          </a:xfrm>
        </p:spPr>
        <p:txBody>
          <a:bodyPr/>
          <a:lstStyle/>
          <a:p>
            <a:r>
              <a:rPr lang="en-IN" dirty="0"/>
              <a:t>mohammed.rayyan@capgemini.com</a:t>
            </a:r>
            <a:endParaRPr lang="en-US"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ECC579B1A626D41AA588F5707520ACB" ma:contentTypeVersion="10" ma:contentTypeDescription="Create a new document." ma:contentTypeScope="" ma:versionID="7187832d7229fe04cf96ba1393610182">
  <xsd:schema xmlns:xsd="http://www.w3.org/2001/XMLSchema" xmlns:xs="http://www.w3.org/2001/XMLSchema" xmlns:p="http://schemas.microsoft.com/office/2006/metadata/properties" xmlns:ns3="e94c1821-3567-47ac-b434-30ee63d32715" xmlns:ns4="c56b036b-1f3b-4eea-8f7e-d9f70d9cf0bc" targetNamespace="http://schemas.microsoft.com/office/2006/metadata/properties" ma:root="true" ma:fieldsID="dba99e18e766bf083f5a174585d681a9" ns3:_="" ns4:_="">
    <xsd:import namespace="e94c1821-3567-47ac-b434-30ee63d32715"/>
    <xsd:import namespace="c56b036b-1f3b-4eea-8f7e-d9f70d9cf0b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4c1821-3567-47ac-b434-30ee63d327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6b036b-1f3b-4eea-8f7e-d9f70d9cf0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A545A05E-E789-4F29-8B41-D72328D445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4c1821-3567-47ac-b434-30ee63d32715"/>
    <ds:schemaRef ds:uri="c56b036b-1f3b-4eea-8f7e-d9f70d9cf0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terms/"/>
    <ds:schemaRef ds:uri="http://schemas.microsoft.com/office/2006/documentManagement/types"/>
    <ds:schemaRef ds:uri="e94c1821-3567-47ac-b434-30ee63d32715"/>
    <ds:schemaRef ds:uri="http://www.w3.org/XML/1998/namespace"/>
    <ds:schemaRef ds:uri="http://purl.org/dc/elements/1.1/"/>
    <ds:schemaRef ds:uri="c56b036b-1f3b-4eea-8f7e-d9f70d9cf0bc"/>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806</TotalTime>
  <Words>356</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yyan, Mohammed</cp:lastModifiedBy>
  <cp:revision>119</cp:revision>
  <dcterms:created xsi:type="dcterms:W3CDTF">2020-09-22T06:24:34Z</dcterms:created>
  <dcterms:modified xsi:type="dcterms:W3CDTF">2023-01-03T14: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CC579B1A626D41AA588F5707520ACB</vt:lpwstr>
  </property>
</Properties>
</file>